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4"/>
  </p:notesMasterIdLst>
  <p:sldIdLst>
    <p:sldId id="454" r:id="rId2"/>
    <p:sldId id="439" r:id="rId3"/>
  </p:sldIdLst>
  <p:sldSz cx="12192000" cy="6858000"/>
  <p:notesSz cx="6797675" cy="9926638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54"/>
            <p14:sldId id="439"/>
          </p14:sldIdLst>
        </p14:section>
      </p14:sectionLst>
    </p:ex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FF4343"/>
    <a:srgbClr val="E5D8D3"/>
    <a:srgbClr val="006EF3"/>
    <a:srgbClr val="191919"/>
    <a:srgbClr val="F1F5F9"/>
    <a:srgbClr val="D8E4F0"/>
    <a:srgbClr val="006EF0"/>
    <a:srgbClr val="9F9B9B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6405"/>
  </p:normalViewPr>
  <p:slideViewPr>
    <p:cSldViewPr snapToGrid="0">
      <p:cViewPr>
        <p:scale>
          <a:sx n="97" d="100"/>
          <a:sy n="97" d="100"/>
        </p:scale>
        <p:origin x="-102" y="-2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B1390F-1526-4903-9281-43BB752B5C7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201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9355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25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7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0" y="0"/>
            <a:ext cx="397259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 rot="16200000">
            <a:off x="-883389" y="2477816"/>
            <a:ext cx="5304069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держка</a:t>
            </a:r>
            <a:b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газелей»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305044" y="2237844"/>
            <a:ext cx="8212087" cy="4317422"/>
            <a:chOff x="4318256" y="1741277"/>
            <a:chExt cx="8212087" cy="431742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597947" y="1741277"/>
              <a:ext cx="7932396" cy="4317422"/>
              <a:chOff x="1327848" y="1443314"/>
              <a:chExt cx="7932396" cy="4317422"/>
            </a:xfrm>
          </p:grpSpPr>
          <p:sp>
            <p:nvSpPr>
              <p:cNvPr id="32" name="Прямоугольник 31"/>
              <p:cNvSpPr/>
              <p:nvPr/>
            </p:nvSpPr>
            <p:spPr>
              <a:xfrm>
                <a:off x="1327848" y="1996217"/>
                <a:ext cx="3240000" cy="37548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субъект МСП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осуществление деятельности не менее 3 лет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среднегодовой темп роста выручки за последние 3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года</a:t>
                </a:r>
                <a:b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не </a:t>
                </a:r>
                <a:r>
                  <a:rPr lang="ru-RU" sz="1400" b="1" dirty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менее 20 </a:t>
                </a: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%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b="1" dirty="0">
                  <a:solidFill>
                    <a:srgbClr val="FF6464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вид деятельности субъекта МСП соответствует приоритетным отраслям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наличие документов, подтверждающих права субъекта МСП на результаты интеллектуальной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деятельност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Параллелограмм 17"/>
              <p:cNvSpPr/>
              <p:nvPr/>
            </p:nvSpPr>
            <p:spPr>
              <a:xfrm>
                <a:off x="4557611" y="1443314"/>
                <a:ext cx="4702633" cy="479984"/>
              </a:xfrm>
              <a:prstGeom prst="parallelogram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ru-RU" sz="1600" b="1" dirty="0" smtClean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Действующие меры поддержки</a:t>
                </a:r>
                <a:endParaRPr lang="ru-RU" sz="16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Прямоугольник 20"/>
              <p:cNvSpPr/>
              <p:nvPr/>
            </p:nvSpPr>
            <p:spPr>
              <a:xfrm>
                <a:off x="5044127" y="1996217"/>
                <a:ext cx="3240000" cy="31085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г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арантии (вознаграждение за гарантию 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0,1-0,5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%, сумма гарантийного покрытия 70-75%),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льготные кредиты, вход в капитал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обеспечение доступа к закупкам крупнейших заказчиков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правовая, консультационная, информационно-маркетинговая, имущественная поддержка. 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20" name="Прямая соединительная линия 19"/>
              <p:cNvCxnSpPr/>
              <p:nvPr/>
            </p:nvCxnSpPr>
            <p:spPr>
              <a:xfrm>
                <a:off x="4890446" y="1519934"/>
                <a:ext cx="0" cy="4240802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7" name="Параллелограмм 26"/>
            <p:cNvSpPr/>
            <p:nvPr/>
          </p:nvSpPr>
          <p:spPr>
            <a:xfrm>
              <a:off x="4318256" y="1741277"/>
              <a:ext cx="3174259" cy="479984"/>
            </a:xfrm>
            <a:prstGeom prst="parallelogram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600" b="1" dirty="0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основных критериев</a:t>
              </a:r>
              <a:endParaRPr lang="ru-RU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01430" y="473619"/>
            <a:ext cx="6691806" cy="1201690"/>
            <a:chOff x="4734908" y="653675"/>
            <a:chExt cx="6691806" cy="1201690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9515" y="895701"/>
              <a:ext cx="1407818" cy="736514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8542174" y="653675"/>
              <a:ext cx="1438275" cy="904875"/>
            </a:xfrm>
            <a:prstGeom prst="rect">
              <a:avLst/>
            </a:prstGeom>
          </p:spPr>
        </p:pic>
        <p:pic>
          <p:nvPicPr>
            <p:cNvPr id="31748" name="Picture 4" descr="https://259506.selcdn.ru/sites-static/site593296/328d8ea9-0f69-47e0-9d74-791674d04c0c/328d8ea9-0f69-47e0-9d74-791674d04c0c-169567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3114" y="692135"/>
              <a:ext cx="903600" cy="90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Группа 5"/>
            <p:cNvGrpSpPr/>
            <p:nvPr/>
          </p:nvGrpSpPr>
          <p:grpSpPr>
            <a:xfrm>
              <a:off x="4734908" y="653675"/>
              <a:ext cx="1609766" cy="1201690"/>
              <a:chOff x="5129229" y="715770"/>
              <a:chExt cx="1908343" cy="1339112"/>
            </a:xfrm>
          </p:grpSpPr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0836" y="715770"/>
                <a:ext cx="737618" cy="807722"/>
              </a:xfrm>
              <a:prstGeom prst="rect">
                <a:avLst/>
              </a:prstGeom>
            </p:spPr>
          </p:pic>
          <p:sp>
            <p:nvSpPr>
              <p:cNvPr id="5" name="Прямоугольник 4"/>
              <p:cNvSpPr/>
              <p:nvPr/>
            </p:nvSpPr>
            <p:spPr>
              <a:xfrm>
                <a:off x="5129229" y="1531662"/>
                <a:ext cx="190834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Минэкономразвития</a:t>
                </a:r>
              </a:p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Росси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2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4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4187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5221" y="1502510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498" y="35475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939" y="447231"/>
            <a:ext cx="1187511" cy="29211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652504" y="431687"/>
            <a:ext cx="595388" cy="30765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567002" y="213957"/>
            <a:ext cx="1111200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 </a:t>
            </a: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ческих компаний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310901" y="2236203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2236203"/>
            <a:ext cx="2723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00 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10901" y="2828796"/>
            <a:ext cx="23140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2984" y="2828796"/>
            <a:ext cx="27730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ИД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10901" y="3667611"/>
            <a:ext cx="346457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носится к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является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232983" y="3667611"/>
            <a:ext cx="34122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лучена экспертиз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Корпорации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 участием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влеченных экспертов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26" y="2243771"/>
            <a:ext cx="277803" cy="25465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5" y="2921668"/>
            <a:ext cx="247494" cy="30163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5" y="3753563"/>
            <a:ext cx="245204" cy="30543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0" y="2196148"/>
            <a:ext cx="390678" cy="326330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22" y="2923266"/>
            <a:ext cx="291804" cy="23942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77" y="3754610"/>
            <a:ext cx="324822" cy="32482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1466172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%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550433" y="1994565"/>
            <a:ext cx="17439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427667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9550433" y="3971050"/>
            <a:ext cx="206032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875174" y="1987730"/>
            <a:ext cx="0" cy="2265903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8599" y="4506347"/>
            <a:ext cx="2131632" cy="642687"/>
          </a:xfrm>
          <a:prstGeom prst="rect">
            <a:avLst/>
          </a:prstGeom>
        </p:spPr>
      </p:pic>
      <p:sp>
        <p:nvSpPr>
          <p:cNvPr id="39" name="Полилиния 38" descr="Прямоугольник">
            <a:extLst>
              <a:ext uri="{FF2B5EF4-FFF2-40B4-BE49-F238E27FC236}">
                <a16:creationId xmlns=""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7163765" y="4716985"/>
            <a:ext cx="2175171" cy="221410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</a:t>
            </a: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ием заявок на МСП. РФ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2547341"/>
            <a:ext cx="206032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500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550433" y="3098302"/>
            <a:ext cx="14315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н руб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" y="5089561"/>
            <a:ext cx="12192000" cy="17684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72978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1</TotalTime>
  <Words>100</Words>
  <Application>Microsoft Office PowerPoint</Application>
  <PresentationFormat>Произвольный</PresentationFormat>
  <Paragraphs>36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mihail.bahtin</cp:lastModifiedBy>
  <cp:revision>584</cp:revision>
  <cp:lastPrinted>2023-01-10T14:05:35Z</cp:lastPrinted>
  <dcterms:created xsi:type="dcterms:W3CDTF">2022-02-09T17:47:39Z</dcterms:created>
  <dcterms:modified xsi:type="dcterms:W3CDTF">2023-01-25T09:25:54Z</dcterms:modified>
</cp:coreProperties>
</file>